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600450" cy="2376488"/>
  <p:notesSz cx="6858000" cy="9144000"/>
  <p:custDataLst>
    <p:tags r:id="rId3"/>
  </p:custDataLst>
  <p:defaultTextStyle>
    <a:defPPr>
      <a:defRPr lang="de-DE"/>
    </a:defPPr>
    <a:lvl1pPr marL="0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1pPr>
    <a:lvl2pPr marL="143972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2pPr>
    <a:lvl3pPr marL="287945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3pPr>
    <a:lvl4pPr marL="431917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4pPr>
    <a:lvl5pPr marL="575889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5pPr>
    <a:lvl6pPr marL="719861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6pPr>
    <a:lvl7pPr marL="863834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7pPr>
    <a:lvl8pPr marL="1007806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8pPr>
    <a:lvl9pPr marL="1151778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9" userDrawn="1">
          <p15:clr>
            <a:srgbClr val="A4A3A4"/>
          </p15:clr>
        </p15:guide>
        <p15:guide id="2" pos="11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40" autoAdjust="0"/>
    <p:restoredTop sz="94660"/>
  </p:normalViewPr>
  <p:slideViewPr>
    <p:cSldViewPr>
      <p:cViewPr>
        <p:scale>
          <a:sx n="200" d="100"/>
          <a:sy n="200" d="100"/>
        </p:scale>
        <p:origin x="2460" y="1002"/>
      </p:cViewPr>
      <p:guideLst>
        <p:guide orient="horz" pos="749"/>
        <p:guide pos="113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70036" y="738252"/>
            <a:ext cx="3060383" cy="50940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068" y="1346676"/>
            <a:ext cx="2520316" cy="60732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610326" y="95177"/>
            <a:ext cx="810102" cy="202771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0031" y="95177"/>
            <a:ext cx="2370297" cy="2027717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4413" y="1527121"/>
            <a:ext cx="3060383" cy="47199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4413" y="1007258"/>
            <a:ext cx="3060383" cy="519857"/>
          </a:xfrm>
        </p:spPr>
        <p:txBody>
          <a:bodyPr anchor="b"/>
          <a:lstStyle>
            <a:lvl1pPr marL="0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80024" y="554520"/>
            <a:ext cx="1590200" cy="1568372"/>
          </a:xfrm>
        </p:spPr>
        <p:txBody>
          <a:bodyPr/>
          <a:lstStyle>
            <a:lvl1pPr>
              <a:defRPr sz="2800"/>
            </a:lvl1pPr>
            <a:lvl2pPr>
              <a:defRPr sz="2399"/>
            </a:lvl2pPr>
            <a:lvl3pPr>
              <a:defRPr sz="1999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830228" y="554520"/>
            <a:ext cx="1590200" cy="1568372"/>
          </a:xfrm>
        </p:spPr>
        <p:txBody>
          <a:bodyPr/>
          <a:lstStyle>
            <a:lvl1pPr>
              <a:defRPr sz="2800"/>
            </a:lvl1pPr>
            <a:lvl2pPr>
              <a:defRPr sz="2399"/>
            </a:lvl2pPr>
            <a:lvl3pPr>
              <a:defRPr sz="1999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0028" y="531965"/>
            <a:ext cx="1590824" cy="221696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189" indent="0">
              <a:buNone/>
              <a:defRPr sz="1999" b="1"/>
            </a:lvl2pPr>
            <a:lvl3pPr marL="914379" indent="0">
              <a:buNone/>
              <a:defRPr sz="1800" b="1"/>
            </a:lvl3pPr>
            <a:lvl4pPr marL="1371567" indent="0">
              <a:buNone/>
              <a:defRPr sz="1600" b="1"/>
            </a:lvl4pPr>
            <a:lvl5pPr marL="1828759" indent="0">
              <a:buNone/>
              <a:defRPr sz="1600" b="1"/>
            </a:lvl5pPr>
            <a:lvl6pPr marL="2285948" indent="0">
              <a:buNone/>
              <a:defRPr sz="1600" b="1"/>
            </a:lvl6pPr>
            <a:lvl7pPr marL="2743138" indent="0">
              <a:buNone/>
              <a:defRPr sz="1600" b="1"/>
            </a:lvl7pPr>
            <a:lvl8pPr marL="3200326" indent="0">
              <a:buNone/>
              <a:defRPr sz="1600" b="1"/>
            </a:lvl8pPr>
            <a:lvl9pPr marL="3657515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80028" y="753658"/>
            <a:ext cx="1590824" cy="1369231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828979" y="531965"/>
            <a:ext cx="1591450" cy="221696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189" indent="0">
              <a:buNone/>
              <a:defRPr sz="1999" b="1"/>
            </a:lvl2pPr>
            <a:lvl3pPr marL="914379" indent="0">
              <a:buNone/>
              <a:defRPr sz="1800" b="1"/>
            </a:lvl3pPr>
            <a:lvl4pPr marL="1371567" indent="0">
              <a:buNone/>
              <a:defRPr sz="1600" b="1"/>
            </a:lvl4pPr>
            <a:lvl5pPr marL="1828759" indent="0">
              <a:buNone/>
              <a:defRPr sz="1600" b="1"/>
            </a:lvl5pPr>
            <a:lvl6pPr marL="2285948" indent="0">
              <a:buNone/>
              <a:defRPr sz="1600" b="1"/>
            </a:lvl6pPr>
            <a:lvl7pPr marL="2743138" indent="0">
              <a:buNone/>
              <a:defRPr sz="1600" b="1"/>
            </a:lvl7pPr>
            <a:lvl8pPr marL="3200326" indent="0">
              <a:buNone/>
              <a:defRPr sz="1600" b="1"/>
            </a:lvl8pPr>
            <a:lvl9pPr marL="3657515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828979" y="753658"/>
            <a:ext cx="1591450" cy="1369231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0026" y="94624"/>
            <a:ext cx="1184524" cy="402682"/>
          </a:xfr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07682" y="94621"/>
            <a:ext cx="2012752" cy="20282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80026" y="497302"/>
            <a:ext cx="1184524" cy="1625584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9" indent="0">
              <a:buNone/>
              <a:defRPr sz="1000"/>
            </a:lvl3pPr>
            <a:lvl4pPr marL="1371567" indent="0">
              <a:buNone/>
              <a:defRPr sz="900"/>
            </a:lvl4pPr>
            <a:lvl5pPr marL="1828759" indent="0">
              <a:buNone/>
              <a:defRPr sz="900"/>
            </a:lvl5pPr>
            <a:lvl6pPr marL="2285948" indent="0">
              <a:buNone/>
              <a:defRPr sz="900"/>
            </a:lvl6pPr>
            <a:lvl7pPr marL="2743138" indent="0">
              <a:buNone/>
              <a:defRPr sz="900"/>
            </a:lvl7pPr>
            <a:lvl8pPr marL="3200326" indent="0">
              <a:buNone/>
              <a:defRPr sz="900"/>
            </a:lvl8pPr>
            <a:lvl9pPr marL="3657515" indent="0">
              <a:buNone/>
              <a:defRPr sz="9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5720" y="1663547"/>
            <a:ext cx="2160270" cy="196390"/>
          </a:xfr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705720" y="212351"/>
            <a:ext cx="2160270" cy="1425893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9" indent="0">
              <a:buNone/>
              <a:defRPr sz="2399"/>
            </a:lvl3pPr>
            <a:lvl4pPr marL="1371567" indent="0">
              <a:buNone/>
              <a:defRPr sz="1999"/>
            </a:lvl4pPr>
            <a:lvl5pPr marL="1828759" indent="0">
              <a:buNone/>
              <a:defRPr sz="1999"/>
            </a:lvl5pPr>
            <a:lvl6pPr marL="2285948" indent="0">
              <a:buNone/>
              <a:defRPr sz="1999"/>
            </a:lvl6pPr>
            <a:lvl7pPr marL="2743138" indent="0">
              <a:buNone/>
              <a:defRPr sz="1999"/>
            </a:lvl7pPr>
            <a:lvl8pPr marL="3200326" indent="0">
              <a:buNone/>
              <a:defRPr sz="1999"/>
            </a:lvl8pPr>
            <a:lvl9pPr marL="3657515" indent="0">
              <a:buNone/>
              <a:defRPr sz="199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705720" y="1859933"/>
            <a:ext cx="2160270" cy="27890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9" indent="0">
              <a:buNone/>
              <a:defRPr sz="1000"/>
            </a:lvl3pPr>
            <a:lvl4pPr marL="1371567" indent="0">
              <a:buNone/>
              <a:defRPr sz="900"/>
            </a:lvl4pPr>
            <a:lvl5pPr marL="1828759" indent="0">
              <a:buNone/>
              <a:defRPr sz="900"/>
            </a:lvl5pPr>
            <a:lvl6pPr marL="2285948" indent="0">
              <a:buNone/>
              <a:defRPr sz="900"/>
            </a:lvl6pPr>
            <a:lvl7pPr marL="2743138" indent="0">
              <a:buNone/>
              <a:defRPr sz="900"/>
            </a:lvl7pPr>
            <a:lvl8pPr marL="3200326" indent="0">
              <a:buNone/>
              <a:defRPr sz="900"/>
            </a:lvl8pPr>
            <a:lvl9pPr marL="3657515" indent="0">
              <a:buNone/>
              <a:defRPr sz="9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69057973"/>
              </p:ext>
            </p:extLst>
          </p:nvPr>
        </p:nvGraphicFramePr>
        <p:xfrm>
          <a:off x="626" y="555"/>
          <a:ext cx="626" cy="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626" y="555"/>
                        <a:ext cx="626" cy="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62508" cy="550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0027" y="95170"/>
            <a:ext cx="3240404" cy="3960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0027" y="554520"/>
            <a:ext cx="3240404" cy="15683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80027" y="2202659"/>
            <a:ext cx="840105" cy="1265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30156" y="2202659"/>
            <a:ext cx="1140143" cy="1265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80328" y="2202659"/>
            <a:ext cx="840105" cy="1265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37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92" indent="-342892" algn="l" defTabSz="91437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33" indent="-285744" algn="l" defTabSz="91437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75" indent="-228595" algn="l" defTabSz="91437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64" indent="-228595" algn="l" defTabSz="914379" rtl="0" eaLnBrk="1" latinLnBrk="0" hangingPunct="1">
        <a:spcBef>
          <a:spcPct val="20000"/>
        </a:spcBef>
        <a:buFont typeface="Arial" pitchFamily="34" charset="0"/>
        <a:buChar char="–"/>
        <a:defRPr sz="19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53" indent="-228595" algn="l" defTabSz="914379" rtl="0" eaLnBrk="1" latinLnBrk="0" hangingPunct="1">
        <a:spcBef>
          <a:spcPct val="20000"/>
        </a:spcBef>
        <a:buFont typeface="Arial" pitchFamily="34" charset="0"/>
        <a:buChar char="»"/>
        <a:defRPr sz="19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43" indent="-228595" algn="l" defTabSz="91437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732" indent="-228595" algn="l" defTabSz="91437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921" indent="-228595" algn="l" defTabSz="91437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6111" indent="-228595" algn="l" defTabSz="91437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9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7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9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8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8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6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15" algn="l" defTabSz="914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678829"/>
              </p:ext>
            </p:extLst>
          </p:nvPr>
        </p:nvGraphicFramePr>
        <p:xfrm>
          <a:off x="-3490118" y="-198755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490118" y="-198755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nhaltsplatzhalter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5" t="3575" r="35405" b="4665"/>
          <a:stretch/>
        </p:blipFill>
        <p:spPr>
          <a:xfrm>
            <a:off x="29061" y="36116"/>
            <a:ext cx="2068860" cy="2308728"/>
          </a:xfrm>
          <a:prstGeom prst="rect">
            <a:avLst/>
          </a:prstGeom>
        </p:spPr>
      </p:pic>
      <p:grpSp>
        <p:nvGrpSpPr>
          <p:cNvPr id="5" name="Gruppieren 4"/>
          <p:cNvGrpSpPr/>
          <p:nvPr/>
        </p:nvGrpSpPr>
        <p:grpSpPr>
          <a:xfrm>
            <a:off x="2066471" y="-70622"/>
            <a:ext cx="1499128" cy="2410994"/>
            <a:chOff x="1487490" y="3356992"/>
            <a:chExt cx="424480" cy="2849072"/>
          </a:xfrm>
        </p:grpSpPr>
        <p:sp>
          <p:nvSpPr>
            <p:cNvPr id="6" name="Textfeld 5"/>
            <p:cNvSpPr txBox="1"/>
            <p:nvPr/>
          </p:nvSpPr>
          <p:spPr>
            <a:xfrm>
              <a:off x="1487490" y="3356992"/>
              <a:ext cx="424480" cy="4728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6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ta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and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mmunacation</a:t>
              </a:r>
              <a:endParaRPr lang="de-DE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1487490" y="3832243"/>
              <a:ext cx="402240" cy="4728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5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nvironment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nditions</a:t>
              </a:r>
              <a:endParaRPr lang="de-DE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1487490" y="4307500"/>
              <a:ext cx="293759" cy="4728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4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Movable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objects</a:t>
              </a:r>
              <a:endParaRPr lang="de-DE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1487490" y="4782751"/>
              <a:ext cx="402693" cy="4728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3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emporal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modifications</a:t>
              </a:r>
              <a:endParaRPr lang="de-DE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1487490" y="5258004"/>
              <a:ext cx="359574" cy="4728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2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raffic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infrastructure</a:t>
              </a:r>
              <a:endParaRPr lang="de-DE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1487490" y="5733254"/>
              <a:ext cx="219321" cy="4728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1</a:t>
              </a: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treet </a:t>
              </a:r>
              <a:r>
                <a:rPr lang="de-DE" sz="1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</a:t>
              </a:r>
              <a:endParaRPr lang="de-DE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Dic6jIxc_VbCxp7xND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</Words>
  <Application>Microsoft Office PowerPoint</Application>
  <PresentationFormat>Benutzerdefiniert</PresentationFormat>
  <Paragraphs>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Times New Roman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3</cp:revision>
  <dcterms:created xsi:type="dcterms:W3CDTF">2020-02-04T16:56:14Z</dcterms:created>
  <dcterms:modified xsi:type="dcterms:W3CDTF">2020-02-05T12:30:35Z</dcterms:modified>
</cp:coreProperties>
</file>